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56" r:id="rId1"/>
  </p:sldMasterIdLst>
  <p:notesMasterIdLst>
    <p:notesMasterId r:id="rId15"/>
  </p:notesMasterIdLst>
  <p:sldIdLst>
    <p:sldId id="589" r:id="rId2"/>
    <p:sldId id="590" r:id="rId3"/>
    <p:sldId id="591" r:id="rId4"/>
    <p:sldId id="592" r:id="rId5"/>
    <p:sldId id="593" r:id="rId6"/>
    <p:sldId id="595" r:id="rId7"/>
    <p:sldId id="594" r:id="rId8"/>
    <p:sldId id="600" r:id="rId9"/>
    <p:sldId id="599" r:id="rId10"/>
    <p:sldId id="596" r:id="rId11"/>
    <p:sldId id="597" r:id="rId12"/>
    <p:sldId id="598" r:id="rId13"/>
    <p:sldId id="601" r:id="rId14"/>
  </p:sldIdLst>
  <p:sldSz cx="9144000" cy="6858000" type="screen4x3"/>
  <p:notesSz cx="6858000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58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867" userDrawn="1">
          <p15:clr>
            <a:srgbClr val="A4A3A4"/>
          </p15:clr>
        </p15:guide>
        <p15:guide id="6" pos="5602" userDrawn="1">
          <p15:clr>
            <a:srgbClr val="A4A3A4"/>
          </p15:clr>
        </p15:guide>
        <p15:guide id="7" orient="horz" pos="4042" userDrawn="1">
          <p15:clr>
            <a:srgbClr val="A4A3A4"/>
          </p15:clr>
        </p15:guide>
        <p15:guide id="8" pos="1973" userDrawn="1">
          <p15:clr>
            <a:srgbClr val="A4A3A4"/>
          </p15:clr>
        </p15:guide>
        <p15:guide id="9" pos="34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1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0039"/>
    <a:srgbClr val="3399FF"/>
    <a:srgbClr val="9B9070"/>
    <a:srgbClr val="968C6D"/>
    <a:srgbClr val="EAEAEA"/>
    <a:srgbClr val="63305E"/>
    <a:srgbClr val="E37222"/>
    <a:srgbClr val="005A8B"/>
    <a:srgbClr val="3E5D57"/>
    <a:srgbClr val="7066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6" autoAdjust="0"/>
    <p:restoredTop sz="94935" autoAdjust="0"/>
  </p:normalViewPr>
  <p:slideViewPr>
    <p:cSldViewPr snapToGrid="0" showGuides="1">
      <p:cViewPr varScale="1">
        <p:scale>
          <a:sx n="132" d="100"/>
          <a:sy n="132" d="100"/>
        </p:scale>
        <p:origin x="1128" y="132"/>
      </p:cViewPr>
      <p:guideLst>
        <p:guide pos="158"/>
        <p:guide orient="horz" pos="2160"/>
        <p:guide pos="2880"/>
        <p:guide orient="horz" pos="867"/>
        <p:guide pos="5602"/>
        <p:guide orient="horz" pos="4042"/>
        <p:guide pos="1973"/>
        <p:guide pos="34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8056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8056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F15BB497-A31A-4E1B-BCD8-06CAE7786CDB}" type="datetimeFigureOut">
              <a:rPr lang="de-DE" smtClean="0"/>
              <a:t>05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1" y="4777194"/>
            <a:ext cx="5486400" cy="3908614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8"/>
            <a:ext cx="2971800" cy="498055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4" y="9428588"/>
            <a:ext cx="2971800" cy="498055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2F967223-AFC9-419A-974D-4BB4787C1D3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0274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2045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21804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188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9421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063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86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079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92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6345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570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0392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778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8303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309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5" name="think-cell Folie" r:id="rId4" imgW="460" imgH="457" progId="TCLayout.ActiveDocument.1">
                  <p:embed/>
                </p:oleObj>
              </mc:Choice>
              <mc:Fallback>
                <p:oleObj name="think-cell Folie" r:id="rId4" imgW="460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80000" y="1692000"/>
            <a:ext cx="8676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180000" y="1332000"/>
            <a:ext cx="8676000" cy="324000"/>
          </a:xfrm>
          <a:noFill/>
        </p:spPr>
        <p:txBody>
          <a:bodyPr wrap="square" t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800" b="1" baseline="0" dirty="0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8pt / fett)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6768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6768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6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28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80000" y="1332000"/>
            <a:ext cx="4068000" cy="324000"/>
          </a:xfrm>
          <a:noFill/>
        </p:spPr>
        <p:txBody>
          <a:bodyPr wrap="square" t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baseline="0" dirty="0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80000" y="1692000"/>
            <a:ext cx="4068000" cy="453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000" y="1332000"/>
            <a:ext cx="4068000" cy="324000"/>
          </a:xfrm>
          <a:noFill/>
        </p:spPr>
        <p:txBody>
          <a:bodyPr vert="horz" wrap="square" lIns="91440" tIns="0" rIns="9144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752000" y="1692000"/>
            <a:ext cx="4068000" cy="4536000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6768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6768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03421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2000" y="2520000"/>
            <a:ext cx="7092000" cy="72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Untertitel (18pt), maximal zweizeilig</a:t>
            </a:r>
          </a:p>
          <a:p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2413" y="612000"/>
            <a:ext cx="7092000" cy="540000"/>
          </a:xfrm>
        </p:spPr>
        <p:txBody>
          <a:bodyPr lIns="0" tIns="0" rIns="0" bIns="0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itel Präsentation (36pt/fett)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13" y="1152000"/>
            <a:ext cx="7092000" cy="1260000"/>
          </a:xfrm>
        </p:spPr>
        <p:txBody>
          <a:bodyPr lIns="0" tIns="468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3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zwei weitere Zeilen (36p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max. dreizeilig</a:t>
            </a:r>
          </a:p>
        </p:txBody>
      </p:sp>
      <p:pic>
        <p:nvPicPr>
          <p:cNvPr id="16" name="Grafik 15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5940000"/>
            <a:ext cx="1328400" cy="392113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648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7992000" y="6574553"/>
            <a:ext cx="1008000" cy="288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DA45F-5DD9-4C1C-BC04-8AF4146ABFA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Fußzeilenplatzhalter 1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04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4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emf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0480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0" name="think-cell Folie" r:id="rId8" imgW="460" imgH="457" progId="TCLayout.ActiveDocument.1">
                  <p:embed/>
                </p:oleObj>
              </mc:Choice>
              <mc:Fallback>
                <p:oleObj name="think-cell Folie" r:id="rId8" imgW="460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65062"/>
            <a:ext cx="9128645" cy="324000"/>
          </a:xfrm>
          <a:prstGeom prst="rect">
            <a:avLst/>
          </a:prstGeom>
        </p:spPr>
      </p:pic>
      <p:pic>
        <p:nvPicPr>
          <p:cNvPr id="7" name="Grafik 6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224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0000" y="1332000"/>
            <a:ext cx="8676000" cy="48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92000" y="6574553"/>
            <a:ext cx="1008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FC15759-0F4D-43E0-A012-6B1071B8BD3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396000"/>
            <a:ext cx="1328400" cy="392113"/>
          </a:xfrm>
          <a:prstGeom prst="rect">
            <a:avLst/>
          </a:prstGeom>
        </p:spPr>
      </p:pic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160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868" r:id="rId3"/>
    <p:sldLayoutId id="2147483869" r:id="rId4"/>
  </p:sldLayoutIdLst>
  <p:timing>
    <p:tnLst>
      <p:par>
        <p:cTn id="1" dur="indefinite" restart="never" nodeType="tmRoot"/>
      </p:par>
    </p:tnLst>
  </p:timing>
  <p:hf hd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892737"/>
        </a:buClr>
        <a:buSzTx/>
        <a:buFont typeface="Wingdings 2" panose="05020102010507070707" pitchFamily="18" charset="2"/>
        <a:buNone/>
        <a:tabLst/>
        <a:defRPr sz="1400" b="0" i="0" kern="1200">
          <a:solidFill>
            <a:srgbClr val="40404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0"/>
        </a:spcBef>
        <a:buClr>
          <a:srgbClr val="892737"/>
        </a:buClr>
        <a:buFont typeface="Arial" panose="020B0604020202020204" pitchFamily="34" charset="0"/>
        <a:buNone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892737"/>
        </a:buClr>
        <a:buFont typeface="Wingdings 2" panose="05020102010507070707" pitchFamily="18" charset="2"/>
        <a:buChar char=""/>
        <a:defRPr sz="1800" b="0" kern="1200" baseline="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250825" y="607356"/>
            <a:ext cx="8643938" cy="172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de-DE" altLang="de-DE" sz="4800" b="1" dirty="0" smtClean="0"/>
              <a:t>Angular 6 Schulung</a:t>
            </a:r>
            <a:endParaRPr lang="en-GB" altLang="de-DE" sz="4800" dirty="0" smtClean="0"/>
          </a:p>
        </p:txBody>
      </p:sp>
    </p:spTree>
    <p:extLst>
      <p:ext uri="{BB962C8B-B14F-4D97-AF65-F5344CB8AC3E}">
        <p14:creationId xmlns:p14="http://schemas.microsoft.com/office/powerpoint/2010/main" val="337184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Komponente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55600" y="1666899"/>
            <a:ext cx="7982857" cy="397031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lector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bundesliga-tabelle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mplateUrl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./bundesliga-tabelle.component.html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yleUrl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./bundesliga-tabelle.component.css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Ini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tructor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 }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OnIni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7921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Data-Bind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dgfdgdf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1552774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Event-Handl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dgfdgdf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6865788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Services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dgfdgdf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7825842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2015218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genda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Angular 6 – </a:t>
            </a:r>
            <a:r>
              <a:rPr lang="en-GB" altLang="de-DE" sz="2400" dirty="0" err="1" smtClean="0"/>
              <a:t>Überblick</a:t>
            </a:r>
            <a:endParaRPr lang="en-GB" alt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Angular CL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Routing</a:t>
            </a:r>
            <a:endParaRPr lang="en-GB" alt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-Controller</a:t>
            </a:r>
            <a:endParaRPr lang="en-GB" altLang="de-DE" sz="2400" dirty="0"/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Templat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Data-Binding (Input, Output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Event-Handling (Event-Emitt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Services</a:t>
            </a:r>
          </a:p>
          <a:p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5846321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ngular 6 - Überblick 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ypescrip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Node / NP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L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Dev-Ser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esting (Unit- und e2e-Tests)</a:t>
            </a:r>
          </a:p>
          <a:p>
            <a:endParaRPr lang="en-GB" altLang="de-DE" sz="2400" dirty="0" smtClean="0"/>
          </a:p>
          <a:p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644799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ngular 6 - CLI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Generierungstool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Projekt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Modul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omponente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Servi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altLang="de-DE" sz="2400" dirty="0"/>
          </a:p>
          <a:p>
            <a:pPr lvl="1"/>
            <a:r>
              <a:rPr lang="en-GB" altLang="de-DE" sz="2400" dirty="0" smtClean="0"/>
              <a:t>ng &lt;</a:t>
            </a:r>
            <a:r>
              <a:rPr lang="en-GB" altLang="de-DE" sz="2400" dirty="0" err="1" smtClean="0"/>
              <a:t>Kommando</a:t>
            </a:r>
            <a:r>
              <a:rPr lang="en-GB" altLang="de-DE" sz="2400" dirty="0" smtClean="0"/>
              <a:t>&gt;</a:t>
            </a:r>
          </a:p>
          <a:p>
            <a:pPr lvl="1"/>
            <a:endParaRPr lang="en-GB" altLang="de-DE" sz="2400" dirty="0"/>
          </a:p>
          <a:p>
            <a:pPr lvl="1"/>
            <a:r>
              <a:rPr lang="en-GB" altLang="de-DE" sz="2400" dirty="0" smtClean="0"/>
              <a:t>new, serve, build, generat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2080196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Modul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NgModules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Strukturierung</a:t>
            </a:r>
            <a:r>
              <a:rPr lang="en-GB" altLang="de-DE" sz="2400" dirty="0" smtClean="0"/>
              <a:t> / </a:t>
            </a:r>
            <a:r>
              <a:rPr lang="en-GB" altLang="de-DE" sz="2400" dirty="0" err="1" smtClean="0"/>
              <a:t>Modularisierung</a:t>
            </a:r>
            <a:r>
              <a:rPr lang="en-GB" altLang="de-DE" sz="2400" dirty="0" smtClean="0"/>
              <a:t> der </a:t>
            </a:r>
            <a:r>
              <a:rPr lang="en-GB" altLang="de-DE" sz="2400" dirty="0" err="1" smtClean="0"/>
              <a:t>Anwendung</a:t>
            </a:r>
            <a:endParaRPr lang="en-GB" altLang="de-DE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fachlich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heiten</a:t>
            </a:r>
            <a:r>
              <a:rPr lang="en-GB" altLang="de-DE" sz="2400" dirty="0" smtClean="0"/>
              <a:t> ( </a:t>
            </a:r>
            <a:r>
              <a:rPr lang="en-GB" altLang="de-DE" sz="2400" dirty="0" err="1" smtClean="0"/>
              <a:t>Anwendungsdomäne</a:t>
            </a:r>
            <a:r>
              <a:rPr lang="en-GB" altLang="de-DE" sz="2400" dirty="0" smtClean="0"/>
              <a:t> 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Bestimmt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Funktionalitä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wird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xportiert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lein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Anwendung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habe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eistens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nur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odul</a:t>
            </a:r>
            <a:r>
              <a:rPr lang="en-GB" altLang="de-DE" sz="2400" dirty="0" smtClean="0"/>
              <a:t> und </a:t>
            </a:r>
            <a:r>
              <a:rPr lang="en-GB" altLang="de-DE" sz="2400" dirty="0" err="1" smtClean="0"/>
              <a:t>viel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Komponenten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Wichtig</a:t>
            </a:r>
            <a:r>
              <a:rPr lang="en-GB" altLang="de-DE" sz="2400" dirty="0" smtClean="0"/>
              <a:t>: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Module vs. </a:t>
            </a:r>
            <a:r>
              <a:rPr lang="en-GB" altLang="de-DE" sz="2400" dirty="0" err="1" smtClean="0"/>
              <a:t>Komponente</a:t>
            </a:r>
            <a:endParaRPr lang="en-GB" altLang="de-DE" sz="2400" dirty="0" smtClean="0"/>
          </a:p>
          <a:p>
            <a:pPr lvl="1"/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271967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Modul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lvl="1"/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640114" y="1627905"/>
            <a:ext cx="4801314" cy="409342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laration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ort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rowser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Routing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vider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ootstrap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 }</a:t>
            </a:r>
            <a:endParaRPr kumimoji="0" lang="de-DE" altLang="de-DE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835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Rout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Navig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/>
              <a:t>basiert</a:t>
            </a:r>
            <a:r>
              <a:rPr lang="en-GB" altLang="de-DE" sz="2400" dirty="0"/>
              <a:t> auf History-API des Brows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omponenten</a:t>
            </a:r>
            <a:r>
              <a:rPr lang="en-GB" altLang="de-DE" sz="2400" dirty="0"/>
              <a:t> </a:t>
            </a:r>
            <a:r>
              <a:rPr lang="en-GB" altLang="de-DE" sz="2400" dirty="0" smtClean="0"/>
              <a:t>/ Path Mapp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Routing </a:t>
            </a:r>
            <a:r>
              <a:rPr lang="en-GB" altLang="de-DE" sz="2400" dirty="0" err="1" smtClean="0"/>
              <a:t>is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genes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odul</a:t>
            </a:r>
            <a:endParaRPr lang="en-GB" altLang="de-DE" sz="2400" dirty="0"/>
          </a:p>
          <a:p>
            <a:endParaRPr lang="en-GB" altLang="de-DE" sz="2400" dirty="0" smtClean="0"/>
          </a:p>
          <a:p>
            <a:r>
              <a:rPr lang="en-GB" altLang="de-DE" sz="2400" dirty="0" smtClean="0"/>
              <a:t>	http</a:t>
            </a:r>
            <a:r>
              <a:rPr lang="en-GB" altLang="de-DE" sz="2400" dirty="0"/>
              <a:t>://localhost:4200/bundesliga-tabelle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8034252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Routing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275772" y="1810382"/>
            <a:ext cx="7491153" cy="230832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[{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h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bundesliga-tabelle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];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or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rModule.</a:t>
            </a:r>
            <a:r>
              <a:rPr kumimoji="0" lang="de-DE" altLang="de-DE" b="1" i="1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Roo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]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r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Routing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 }</a:t>
            </a:r>
            <a:endParaRPr kumimoji="0" lang="de-DE" altLang="de-DE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8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Komponente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View Einheit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Kapselung einer View </a:t>
            </a:r>
            <a:r>
              <a:rPr lang="en-GB" altLang="de-DE" sz="2400" dirty="0" err="1" smtClean="0"/>
              <a:t>innerhalb</a:t>
            </a:r>
            <a:r>
              <a:rPr lang="en-GB" altLang="de-DE" sz="2400" dirty="0" smtClean="0"/>
              <a:t> der </a:t>
            </a:r>
            <a:r>
              <a:rPr lang="en-GB" altLang="de-DE" sz="2400" dirty="0" err="1" smtClean="0"/>
              <a:t>Anwendung</a:t>
            </a:r>
            <a:endParaRPr lang="en-GB" altLang="de-DE" sz="2400" dirty="0" smtClean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emplate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-Controller</a:t>
            </a:r>
          </a:p>
          <a:p>
            <a:pPr lvl="2"/>
            <a:endParaRPr lang="en-GB" altLang="de-DE" sz="2400" dirty="0" smtClean="0"/>
          </a:p>
          <a:p>
            <a:pPr lvl="2"/>
            <a:r>
              <a:rPr lang="en-GB" altLang="de-DE" sz="2400" dirty="0" err="1" smtClean="0"/>
              <a:t>Beispiele</a:t>
            </a:r>
            <a:r>
              <a:rPr lang="en-GB" altLang="de-DE" sz="2400" dirty="0" smtClean="0"/>
              <a:t>:</a:t>
            </a:r>
          </a:p>
          <a:p>
            <a:pPr lvl="2"/>
            <a:r>
              <a:rPr lang="en-GB" altLang="de-DE" sz="2400" dirty="0" smtClean="0"/>
              <a:t>Context-</a:t>
            </a:r>
            <a:r>
              <a:rPr lang="en-GB" altLang="de-DE" sz="2400" dirty="0" err="1" smtClean="0"/>
              <a:t>Menü</a:t>
            </a:r>
            <a:endParaRPr lang="en-GB" altLang="de-DE" sz="2400" dirty="0" smtClean="0"/>
          </a:p>
          <a:p>
            <a:pPr lvl="2"/>
            <a:r>
              <a:rPr lang="en-GB" altLang="de-DE" sz="2400" dirty="0" smtClean="0"/>
              <a:t>Filter</a:t>
            </a:r>
          </a:p>
          <a:p>
            <a:pPr lvl="2"/>
            <a:r>
              <a:rPr lang="en-GB" altLang="de-DE" sz="2400" dirty="0" smtClean="0"/>
              <a:t>AutoComplete </a:t>
            </a:r>
            <a:r>
              <a:rPr lang="en-GB" altLang="de-DE" sz="2400" dirty="0" err="1" smtClean="0"/>
              <a:t>mi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Filterung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361523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3&quot; g=&quot;AB&quot; b=&quot;48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O Design Sekundärfarben Abstufungen">
  <a:themeElements>
    <a:clrScheme name="ERGO Sekundärfarben Abstufungen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892737"/>
      </a:accent1>
      <a:accent2>
        <a:srgbClr val="B3707D"/>
      </a:accent2>
      <a:accent3>
        <a:srgbClr val="C4919B"/>
      </a:accent3>
      <a:accent4>
        <a:srgbClr val="D6B3B9"/>
      </a:accent4>
      <a:accent5>
        <a:srgbClr val="B0AFAD"/>
      </a:accent5>
      <a:accent6>
        <a:srgbClr val="D5D4D3"/>
      </a:accent6>
      <a:hlink>
        <a:srgbClr val="892737"/>
      </a:hlink>
      <a:folHlink>
        <a:srgbClr val="892737"/>
      </a:folHlink>
    </a:clrScheme>
    <a:fontScheme name="ERGO Schrift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RGO Folienmaster 4-3.potx" id="{DBB80DB5-2194-416A-A36F-18BB11F0F907}" vid="{D0ECEC10-F02D-4E78-9D77-3C5016E141E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</Words>
  <Application>Microsoft Office PowerPoint</Application>
  <PresentationFormat>Bildschirmpräsentation (4:3)</PresentationFormat>
  <Paragraphs>119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 2</vt:lpstr>
      <vt:lpstr>ERGO Design Sekundärfarben Abstufung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1-18T15:37:09Z</dcterms:created>
  <dcterms:modified xsi:type="dcterms:W3CDTF">2018-11-05T12:28:26Z</dcterms:modified>
</cp:coreProperties>
</file>